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7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13.xml" ContentType="application/vnd.openxmlformats-officedocument.presentationml.slide+xml"/>
  <Override PartName="/ppt/slides/slide6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8.xml" ContentType="application/vnd.openxmlformats-officedocument.presentationml.slide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2.xml" ContentType="application/vnd.openxmlformats-officedocument.presentationml.tags+xml"/>
  <Override PartName="/docProps/core.xml" ContentType="application/vnd.openxmlformats-package.core-properties+xml"/>
  <Override PartName="/ppt/tags/tag4.xml" ContentType="application/vnd.openxmlformats-officedocument.presentationml.tag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6"/>
  </p:notesMasterIdLst>
  <p:sldIdLst>
    <p:sldId id="311" r:id="rId3"/>
    <p:sldId id="2289" r:id="rId4"/>
    <p:sldId id="2278" r:id="rId5"/>
    <p:sldId id="2282" r:id="rId6"/>
    <p:sldId id="2291" r:id="rId7"/>
    <p:sldId id="2305" r:id="rId8"/>
    <p:sldId id="2301" r:id="rId9"/>
    <p:sldId id="2303" r:id="rId10"/>
    <p:sldId id="2304" r:id="rId11"/>
    <p:sldId id="2300" r:id="rId12"/>
    <p:sldId id="2302" r:id="rId13"/>
    <p:sldId id="2298" r:id="rId14"/>
    <p:sldId id="2292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46C3C3-C1E4-4C25-8A7B-4D783D36665D}" v="2" dt="2022-06-27T08:32:28.5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9" d="100"/>
          <a:sy n="89" d="100"/>
        </p:scale>
        <p:origin x="46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6/11/relationships/changesInfo" Target="changesInfos/changesInfo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5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ustomXml" Target="../customXml/item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ustomXml" Target="../customXml/item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thi, Lakshay (Contractor)" userId="S::c-lsethi@dovercorp.com::aadc4c63-6cfd-40a9-8b0d-4ca837cf13ff" providerId="AD" clId="Web-{5C46C3C3-C1E4-4C25-8A7B-4D783D36665D}"/>
    <pc:docChg chg="modSld">
      <pc:chgData name="Sethi, Lakshay (Contractor)" userId="S::c-lsethi@dovercorp.com::aadc4c63-6cfd-40a9-8b0d-4ca837cf13ff" providerId="AD" clId="Web-{5C46C3C3-C1E4-4C25-8A7B-4D783D36665D}" dt="2022-06-27T08:32:28.531" v="1" actId="1076"/>
      <pc:docMkLst>
        <pc:docMk/>
      </pc:docMkLst>
      <pc:sldChg chg="modSp">
        <pc:chgData name="Sethi, Lakshay (Contractor)" userId="S::c-lsethi@dovercorp.com::aadc4c63-6cfd-40a9-8b0d-4ca837cf13ff" providerId="AD" clId="Web-{5C46C3C3-C1E4-4C25-8A7B-4D783D36665D}" dt="2022-06-27T08:32:28.531" v="1" actId="1076"/>
        <pc:sldMkLst>
          <pc:docMk/>
          <pc:sldMk cId="2258545419" sldId="728"/>
        </pc:sldMkLst>
        <pc:grpChg chg="mod">
          <ac:chgData name="Sethi, Lakshay (Contractor)" userId="S::c-lsethi@dovercorp.com::aadc4c63-6cfd-40a9-8b0d-4ca837cf13ff" providerId="AD" clId="Web-{5C46C3C3-C1E4-4C25-8A7B-4D783D36665D}" dt="2022-06-27T08:32:28.531" v="1" actId="1076"/>
          <ac:grpSpMkLst>
            <pc:docMk/>
            <pc:sldMk cId="2258545419" sldId="728"/>
            <ac:grpSpMk id="8" creationId="{97DF0B64-CCBE-4410-A7C1-D74147D0B061}"/>
          </ac:grpSpMkLst>
        </pc:gr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A32D70-120C-4C16-B1D1-927C276052A0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69FABF-5FF1-4322-8875-DE9FF694D44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80407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79D1C69-A459-4931-8F8B-0208765D1D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A38B7E62-0435-4297-A098-DCA0F71FE2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5E67FA8A-D9CF-4CDD-8D52-CC7A3DD66E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68076-DE4F-427E-9C38-413DB5163F4A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873D5A8-F367-4385-A117-18AFB18FE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84DB814C-A55A-447E-BC2B-563CACC23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E342A-20EF-4C7C-8422-9070A9AF69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685496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74F4210-5695-4342-92AB-57788B8DF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71636E93-40D9-43FF-877A-BF6D478C35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D46FD17-7C38-4A4C-9696-FDC4D29E24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68076-DE4F-427E-9C38-413DB5163F4A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2C07061-E3BD-4B77-9A27-4708AF27CA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42C0E94B-CB49-4C3B-BDFC-DE94BDC9BD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E342A-20EF-4C7C-8422-9070A9AF69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471435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CAB0B3EE-D036-41ED-81BC-D29FE9BEA40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FE00E238-A055-45FA-A0BC-FFD065638F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F9275FB-4E17-4EE5-9DDB-5C3DCA54A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68076-DE4F-427E-9C38-413DB5163F4A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C6F9E013-9E56-4288-B1FA-772514FF9D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3895894-5124-4834-BC14-DBF458242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E342A-20EF-4C7C-8422-9070A9AF69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699546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286000"/>
            <a:ext cx="12192000" cy="45720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334753"/>
            <a:ext cx="7632700" cy="1580014"/>
          </a:xfrm>
        </p:spPr>
        <p:txBody>
          <a:bodyPr vert="horz" lIns="0" tIns="45720" rIns="0" bIns="45720" rtlCol="0" anchor="t" anchorCtr="0">
            <a:noAutofit/>
          </a:bodyPr>
          <a:lstStyle>
            <a:lvl1pPr>
              <a:lnSpc>
                <a:spcPct val="90000"/>
              </a:lnSpc>
              <a:defRPr lang="en-US" sz="3800" b="0" cap="none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1" y="1787985"/>
            <a:ext cx="7632700" cy="515016"/>
          </a:xfrm>
        </p:spPr>
        <p:txBody>
          <a:bodyPr lIns="0" rIns="0" anchor="t">
            <a:noAutofit/>
          </a:bodyPr>
          <a:lstStyle>
            <a:lvl1pPr marL="0" indent="0" algn="l">
              <a:buNone/>
              <a:defRPr sz="18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 descr="Dover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314" y="429312"/>
            <a:ext cx="2096973" cy="523516"/>
          </a:xfrm>
          <a:prstGeom prst="rect">
            <a:avLst/>
          </a:prstGeom>
        </p:spPr>
      </p:pic>
      <p:sp>
        <p:nvSpPr>
          <p:cNvPr id="6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914401" y="5413245"/>
            <a:ext cx="7626684" cy="914400"/>
          </a:xfrm>
        </p:spPr>
        <p:txBody>
          <a:bodyPr vert="horz" lIns="0" tIns="45720" rIns="0" bIns="45720" rtlCol="0" anchor="t">
            <a:noAutofit/>
          </a:bodyPr>
          <a:lstStyle>
            <a:lvl1pPr marL="225425" indent="-225425">
              <a:buNone/>
              <a:defRPr lang="en-US" sz="2000" smtClean="0">
                <a:solidFill>
                  <a:schemeClr val="tx2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/>
            <a:r>
              <a:rPr lang="en-US"/>
              <a:t>Presenter name</a:t>
            </a:r>
          </a:p>
        </p:txBody>
      </p:sp>
    </p:spTree>
    <p:extLst>
      <p:ext uri="{BB962C8B-B14F-4D97-AF65-F5344CB8AC3E}">
        <p14:creationId xmlns:p14="http://schemas.microsoft.com/office/powerpoint/2010/main" val="302106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286000"/>
            <a:ext cx="12192000" cy="45720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334753"/>
            <a:ext cx="7632700" cy="1580014"/>
          </a:xfrm>
        </p:spPr>
        <p:txBody>
          <a:bodyPr vert="horz" lIns="0" tIns="45720" rIns="0" bIns="45720" rtlCol="0" anchor="t" anchorCtr="0">
            <a:noAutofit/>
          </a:bodyPr>
          <a:lstStyle>
            <a:lvl1pPr>
              <a:lnSpc>
                <a:spcPct val="90000"/>
              </a:lnSpc>
              <a:defRPr lang="en-US" sz="3800" b="0" cap="none" dirty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1" y="1787985"/>
            <a:ext cx="7632700" cy="515016"/>
          </a:xfrm>
        </p:spPr>
        <p:txBody>
          <a:bodyPr lIns="0" rIns="0" anchor="t">
            <a:noAutofit/>
          </a:bodyPr>
          <a:lstStyle>
            <a:lvl1pPr marL="0" indent="0" algn="l">
              <a:buNone/>
              <a:defRPr sz="18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 descr="Dover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314" y="429312"/>
            <a:ext cx="2096973" cy="523516"/>
          </a:xfrm>
          <a:prstGeom prst="rect">
            <a:avLst/>
          </a:prstGeom>
        </p:spPr>
      </p:pic>
      <p:sp>
        <p:nvSpPr>
          <p:cNvPr id="6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914401" y="5413245"/>
            <a:ext cx="7626684" cy="914400"/>
          </a:xfrm>
        </p:spPr>
        <p:txBody>
          <a:bodyPr vert="horz" lIns="0" tIns="45720" rIns="0" bIns="45720" rtlCol="0" anchor="t">
            <a:noAutofit/>
          </a:bodyPr>
          <a:lstStyle>
            <a:lvl1pPr marL="225425" indent="-225425">
              <a:buNone/>
              <a:defRPr lang="en-US" sz="2000" smtClean="0">
                <a:solidFill>
                  <a:schemeClr val="tx2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/>
            <a:r>
              <a:rPr lang="en-US"/>
              <a:t>Presenter name</a:t>
            </a:r>
          </a:p>
        </p:txBody>
      </p:sp>
    </p:spTree>
    <p:extLst>
      <p:ext uri="{BB962C8B-B14F-4D97-AF65-F5344CB8AC3E}">
        <p14:creationId xmlns:p14="http://schemas.microsoft.com/office/powerpoint/2010/main" val="361385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624487"/>
            <a:ext cx="10970684" cy="365125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240939" y="8138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8F4C85-FE5D-48EE-AAA3-96F54DDEC0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770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4B8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85734"/>
            <a:ext cx="5384800" cy="452596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85734"/>
            <a:ext cx="5384800" cy="452596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624487"/>
            <a:ext cx="10970684" cy="365125"/>
          </a:xfrm>
        </p:spPr>
        <p:txBody>
          <a:bodyPr/>
          <a:lstStyle>
            <a:lvl1pPr marL="0" indent="0">
              <a:buNone/>
              <a:defRPr sz="1800">
                <a:solidFill>
                  <a:srgbClr val="004B8D"/>
                </a:solidFill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240939" y="8138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8F4C85-FE5D-48EE-AAA3-96F54DDEC0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291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4B8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85733"/>
            <a:ext cx="5386917" cy="639762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25495"/>
            <a:ext cx="5386917" cy="3951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385733"/>
            <a:ext cx="5389033" cy="639762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25495"/>
            <a:ext cx="5389033" cy="39512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624487"/>
            <a:ext cx="10970684" cy="365125"/>
          </a:xfrm>
        </p:spPr>
        <p:txBody>
          <a:bodyPr/>
          <a:lstStyle>
            <a:lvl1pPr marL="0" indent="0">
              <a:buNone/>
              <a:defRPr sz="1800">
                <a:solidFill>
                  <a:srgbClr val="004B8D"/>
                </a:solidFill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9240939" y="8138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8F4C85-FE5D-48EE-AAA3-96F54DDEC0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914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240939" y="8138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8F4C85-FE5D-48EE-AAA3-96F54DDEC0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766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240939" y="8138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8F4C85-FE5D-48EE-AAA3-96F54DDEC0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114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1"/>
            <a:ext cx="10363200" cy="1362075"/>
          </a:xfrm>
        </p:spPr>
        <p:txBody>
          <a:bodyPr anchor="t"/>
          <a:lstStyle>
            <a:lvl1pPr algn="l">
              <a:defRPr sz="4000" b="0" cap="none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240939" y="8138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8F4C85-FE5D-48EE-AAA3-96F54DDEC0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64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76022E8-DE74-4A13-95BD-00804925DB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31DF99A-ECB5-4A40-9DD5-F1EA91FECB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56D575AD-2C89-4042-A795-EAEB3211E3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68076-DE4F-427E-9C38-413DB5163F4A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418D012C-5A3D-4579-8A06-5C7952E6D9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C0DFA17C-3E29-4B1E-9497-6A4EE4A57B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E342A-20EF-4C7C-8422-9070A9AF69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744898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over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0303" y="2955733"/>
            <a:ext cx="3791395" cy="946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90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4162" y="262501"/>
            <a:ext cx="10067839" cy="5508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66103" y="1377051"/>
            <a:ext cx="11532252" cy="4719268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093200" y="6248400"/>
            <a:ext cx="28448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1582400" y="152400"/>
            <a:ext cx="6096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E379CF-A4D8-4F92-93BE-953A6487E6E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866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3DA4DB-6F5F-4E99-BBB3-17C1DEC2D4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841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_Layout_karugo_1" userDrawn="1">
  <p:cSld name="Custom_Layout_karugo_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10"/>
          </p:nvPr>
        </p:nvSpPr>
        <p:spPr>
          <a:xfrm>
            <a:off x="1607130" y="508295"/>
            <a:ext cx="7911757" cy="307777"/>
          </a:xfrm>
        </p:spPr>
        <p:txBody>
          <a:bodyPr vert="horz" lIns="0" tIns="0" rIns="0" bIns="0" anchor="t"/>
          <a:lstStyle>
            <a:lvl1pPr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 i="0" u="none">
                <a:solidFill>
                  <a:srgbClr val="0035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1"/>
          </p:nvPr>
        </p:nvSpPr>
        <p:spPr>
          <a:xfrm>
            <a:off x="1607128" y="807018"/>
            <a:ext cx="10032613" cy="298724"/>
          </a:xfrm>
        </p:spPr>
        <p:txBody>
          <a:bodyPr vert="horz" lIns="0" tIns="41010" rIns="0" bIns="41010" anchor="t"/>
          <a:lstStyle>
            <a:lvl1pPr algn="l">
              <a:lnSpc>
                <a:spcPct val="100000"/>
              </a:lnSpc>
              <a:spcBef>
                <a:spcPts val="897"/>
              </a:spcBef>
              <a:spcAft>
                <a:spcPts val="0"/>
              </a:spcAft>
              <a:defRPr sz="1400" b="1" i="0" u="none">
                <a:solidFill>
                  <a:srgbClr val="00355F"/>
                </a:solidFill>
              </a:defRPr>
            </a:lvl1pPr>
            <a:lvl2pPr algn="l">
              <a:defRPr sz="1400" b="1" i="0" u="none">
                <a:solidFill>
                  <a:srgbClr val="00355F"/>
                </a:solidFill>
              </a:defRPr>
            </a:lvl2pPr>
            <a:lvl3pPr algn="l">
              <a:defRPr sz="1400" b="1" i="0" u="none">
                <a:solidFill>
                  <a:srgbClr val="00355F"/>
                </a:solidFill>
              </a:defRPr>
            </a:lvl3pPr>
            <a:lvl4pPr algn="l">
              <a:defRPr sz="1400" b="1" i="0" u="none">
                <a:solidFill>
                  <a:srgbClr val="00355F"/>
                </a:solidFill>
              </a:defRPr>
            </a:lvl4pPr>
            <a:lvl5pPr algn="l">
              <a:defRPr sz="1400" b="1" i="0" u="none">
                <a:solidFill>
                  <a:srgbClr val="00355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607041" y="1526999"/>
            <a:ext cx="10032704" cy="315250"/>
          </a:xfrm>
          <a:prstGeom prst="rect">
            <a:avLst/>
          </a:prstGeom>
        </p:spPr>
        <p:txBody>
          <a:bodyPr vert="horz" lIns="0" tIns="0" rIns="0" bIns="0" anchor="t"/>
          <a:lstStyle>
            <a:lvl1pPr algn="l">
              <a:lnSpc>
                <a:spcPct val="100000"/>
              </a:lnSpc>
              <a:spcBef>
                <a:spcPts val="179"/>
              </a:spcBef>
              <a:spcAft>
                <a:spcPts val="179"/>
              </a:spcAft>
              <a:defRPr sz="800" b="0" i="0" u="none">
                <a:solidFill>
                  <a:srgbClr val="000000"/>
                </a:solidFill>
              </a:defRPr>
            </a:lvl1pPr>
            <a:lvl2pPr algn="l">
              <a:defRPr sz="800" b="0" i="0" u="none">
                <a:solidFill>
                  <a:srgbClr val="000000"/>
                </a:solidFill>
              </a:defRPr>
            </a:lvl2pPr>
            <a:lvl3pPr algn="l">
              <a:defRPr sz="800" b="0" i="0" u="none">
                <a:solidFill>
                  <a:srgbClr val="000000"/>
                </a:solidFill>
              </a:defRPr>
            </a:lvl3pPr>
            <a:lvl4pPr algn="l">
              <a:defRPr sz="800" b="0" i="0" u="none">
                <a:solidFill>
                  <a:srgbClr val="000000"/>
                </a:solidFill>
              </a:defRPr>
            </a:lvl4pPr>
            <a:lvl5pPr algn="l">
              <a:defRPr sz="800" b="0" i="0" u="none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 descr="Type:FootnoteFooter;FootnoteCount:0;"/>
          <p:cNvSpPr>
            <a:spLocks noGrp="1"/>
          </p:cNvSpPr>
          <p:nvPr>
            <p:ph type="body" sz="quarter" idx="13"/>
          </p:nvPr>
        </p:nvSpPr>
        <p:spPr>
          <a:xfrm>
            <a:off x="1606747" y="5800663"/>
            <a:ext cx="10033000" cy="597448"/>
          </a:xfrm>
          <a:prstGeom prst="rect">
            <a:avLst/>
          </a:prstGeom>
        </p:spPr>
        <p:txBody>
          <a:bodyPr vert="horz" lIns="0" tIns="123030" rIns="0" bIns="41010" anchor="b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b="0" i="1" u="none">
                <a:solidFill>
                  <a:srgbClr val="000000"/>
                </a:solidFill>
              </a:defRPr>
            </a:lvl1pPr>
            <a:lvl2pPr algn="l">
              <a:defRPr sz="700" b="0" i="1" u="none">
                <a:solidFill>
                  <a:srgbClr val="000000"/>
                </a:solidFill>
              </a:defRPr>
            </a:lvl2pPr>
            <a:lvl3pPr algn="l">
              <a:defRPr sz="700" b="0" i="1" u="none">
                <a:solidFill>
                  <a:srgbClr val="000000"/>
                </a:solidFill>
              </a:defRPr>
            </a:lvl3pPr>
            <a:lvl4pPr algn="l">
              <a:defRPr sz="700" b="0" i="1" u="none">
                <a:solidFill>
                  <a:srgbClr val="000000"/>
                </a:solidFill>
              </a:defRPr>
            </a:lvl4pPr>
            <a:lvl5pPr algn="l">
              <a:defRPr sz="700" b="0" i="1" u="none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 descr="Type:SectionFooter;"/>
          <p:cNvSpPr>
            <a:spLocks noGrp="1"/>
          </p:cNvSpPr>
          <p:nvPr>
            <p:ph type="body" sz="quarter" idx="14"/>
          </p:nvPr>
        </p:nvSpPr>
        <p:spPr>
          <a:xfrm>
            <a:off x="556492" y="6398473"/>
            <a:ext cx="8866909" cy="162941"/>
          </a:xfrm>
          <a:prstGeom prst="rect">
            <a:avLst/>
          </a:prstGeom>
        </p:spPr>
        <p:txBody>
          <a:bodyPr vert="horz" lIns="0" tIns="41010" rIns="0" bIns="0" anchor="t"/>
          <a:lstStyle>
            <a:lvl1pPr algn="l">
              <a:lnSpc>
                <a:spcPct val="100000"/>
              </a:lnSpc>
              <a:spcBef>
                <a:spcPts val="897"/>
              </a:spcBef>
              <a:spcAft>
                <a:spcPts val="0"/>
              </a:spcAft>
              <a:defRPr sz="800" b="0" i="0" u="none">
                <a:solidFill>
                  <a:srgbClr val="000000"/>
                </a:solidFill>
              </a:defRPr>
            </a:lvl1pPr>
            <a:lvl2pPr algn="l">
              <a:defRPr sz="800" b="0" i="0" u="none">
                <a:solidFill>
                  <a:srgbClr val="000000"/>
                </a:solidFill>
              </a:defRPr>
            </a:lvl2pPr>
            <a:lvl3pPr algn="l">
              <a:defRPr sz="800" b="0" i="0" u="none">
                <a:solidFill>
                  <a:srgbClr val="000000"/>
                </a:solidFill>
              </a:defRPr>
            </a:lvl3pPr>
            <a:lvl4pPr algn="l">
              <a:defRPr sz="800" b="0" i="0" u="none">
                <a:solidFill>
                  <a:srgbClr val="000000"/>
                </a:solidFill>
              </a:defRPr>
            </a:lvl4pPr>
            <a:lvl5pPr algn="l">
              <a:defRPr sz="800" b="0" i="0" u="none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 descr="Type:GsPicture;Id:452705d3-7410-4594-9843-c40f676e1f97;FilePath:\\IBNJS006VF\DIRECTION2013\Future Stock Price Analysis 10.xlsx;SheetName:Scenario 1 Output;User:FIRMWIDE\karugo;Date:25-Jul-2013 01:18;"/>
          <p:cNvSpPr>
            <a:spLocks noGrp="1"/>
          </p:cNvSpPr>
          <p:nvPr>
            <p:ph sz="quarter" idx="15"/>
          </p:nvPr>
        </p:nvSpPr>
        <p:spPr>
          <a:xfrm>
            <a:off x="3378281" y="2395492"/>
            <a:ext cx="8224212" cy="169238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9200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552" y="130006"/>
            <a:ext cx="9264649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4000" y="1144800"/>
            <a:ext cx="5546400" cy="4888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0800" y="1144800"/>
            <a:ext cx="5546400" cy="4888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0808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4900BDF-66F5-40AD-9AE8-6C8241289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AE2AD086-1B5A-45AD-BCDF-621F60CE2F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AE05CAA-BACC-49D5-AE4A-4E4C78264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68076-DE4F-427E-9C38-413DB5163F4A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463EE74-A814-4772-8C05-C6B2D49266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3E6FBC6-6C16-4266-86D1-101DD54348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E342A-20EF-4C7C-8422-9070A9AF69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8394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AD3972B-FB79-4225-98A5-18E8704A6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1BC66A56-BE7C-43E0-BF13-B85D8E3EA3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CD40201D-7E46-41AC-819C-FA6D4DA5A9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74EC89C4-078B-412C-A2EC-E9433393D3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68076-DE4F-427E-9C38-413DB5163F4A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7D9DD5EC-ACD6-4ED3-B188-5EB02EBFBD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5420BE8A-5380-48E1-B29C-4ED40D6BC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E342A-20EF-4C7C-8422-9070A9AF69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108029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712F005-4814-4307-BD13-20DC401B7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4CD3C1FD-F6D6-42BA-81FC-D7FBCA29C1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8B6EED2C-2D80-4BB1-9268-C7C787DCE1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787D7996-5398-43B7-9B7D-96229095621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0B9E703C-4ED3-4B47-A2B2-863F4CA3C43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E59A914D-C955-4512-95D7-3D3E2AFEEA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68076-DE4F-427E-9C38-413DB5163F4A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5FF84396-F119-4B42-9F58-0609E6DE36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3B078825-2767-4ABC-93BF-9B4F02F04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E342A-20EF-4C7C-8422-9070A9AF69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231970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E1EE71C-BA94-4D1D-9F7B-1D7853553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9DF3514D-B26E-45C0-84D0-0442495AB6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68076-DE4F-427E-9C38-413DB5163F4A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4196993F-B6DF-47F5-BF32-AD4470FA8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FA39ECD0-CA3E-48F3-9A77-83A134005C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E342A-20EF-4C7C-8422-9070A9AF69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464859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20DAE0D7-E265-4B67-99A9-C0E6BC7045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68076-DE4F-427E-9C38-413DB5163F4A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2AE91E2-2A18-4C03-8C5B-EBDD3DC6C1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C6F4BD0-40CD-4CB9-ADB8-73E672E18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E342A-20EF-4C7C-8422-9070A9AF69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651715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1B39C97-6B37-4454-A4C0-DA42038CD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C3122F04-5F42-4ED2-BB48-60216AFD2D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8216D1C0-411E-453C-B856-4AEDA1CE3F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15CDEA25-D508-40CC-8AB6-EF54C48850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68076-DE4F-427E-9C38-413DB5163F4A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62DFC0B7-1BB5-484B-B83A-2CCB466EB6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57859D64-60C9-456B-AD70-143AA7F0DD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E342A-20EF-4C7C-8422-9070A9AF69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31739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E5F3ACD-46C2-4BF7-AC65-70E3EE072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F4712F67-CD50-43B7-AD16-A74616AC365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824E4997-ED44-4BD0-BBE7-4458E548F3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C6BF4ECA-9050-499B-9251-1CE6625573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68076-DE4F-427E-9C38-413DB5163F4A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3CFBDCE1-5240-4507-A4C4-34791D4069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5C8E5903-52DF-43D2-8D39-8D58E2488C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E342A-20EF-4C7C-8422-9070A9AF69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849707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E1C2616C-E240-4586-8F8C-9AA24382B4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C5C95E9-5137-4AA3-AA1F-3CB909B2D1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F22BCAF-041D-4E5A-96F7-0D607F6CA9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C68076-DE4F-427E-9C38-413DB5163F4A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A30C450-D8F8-4494-AC04-18EF070C0C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C1CECAF6-FF75-4F15-8987-C74BFAE789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CE342A-20EF-4C7C-8422-9070A9AF69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12190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9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88418"/>
            <a:ext cx="10972800" cy="473774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0" y="6374030"/>
            <a:ext cx="12192000" cy="0"/>
          </a:xfrm>
          <a:prstGeom prst="line">
            <a:avLst/>
          </a:prstGeom>
          <a:ln w="635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60559"/>
            <a:ext cx="10972800" cy="360558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 descr="Dover_rgb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493278"/>
            <a:ext cx="999744" cy="249589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7920693" y="6511524"/>
            <a:ext cx="2862323" cy="230832"/>
          </a:xfrm>
          <a:prstGeom prst="rect">
            <a:avLst/>
          </a:prstGeom>
          <a:noFill/>
        </p:spPr>
        <p:txBody>
          <a:bodyPr wrap="square" lIns="0" rIns="0" rtlCol="0" anchor="b">
            <a:noAutofit/>
          </a:bodyPr>
          <a:lstStyle/>
          <a:p>
            <a:pPr algn="r"/>
            <a:r>
              <a:rPr lang="en-US" sz="900">
                <a:solidFill>
                  <a:schemeClr val="accent2"/>
                </a:solidFill>
              </a:rPr>
              <a:t>PROPRIETARY</a:t>
            </a:r>
            <a:r>
              <a:rPr lang="en-US" sz="900" baseline="0">
                <a:solidFill>
                  <a:schemeClr val="accent2"/>
                </a:solidFill>
              </a:rPr>
              <a:t> AND CONFIDENTIAL</a:t>
            </a:r>
            <a:endParaRPr lang="en-US" sz="900">
              <a:solidFill>
                <a:schemeClr val="accent2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240939" y="8138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8F4C85-FE5D-48EE-AAA3-96F54DDEC0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66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kern="1200" cap="none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5425" indent="-225425" algn="l" defTabSz="457200" rtl="0" eaLnBrk="1" latinLnBrk="0" hangingPunct="1">
        <a:spcBef>
          <a:spcPct val="20000"/>
        </a:spcBef>
        <a:buClr>
          <a:schemeClr val="tx2"/>
        </a:buClr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31775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4213" indent="-227013" algn="l" defTabSz="457200" rtl="0" eaLnBrk="1" latinLnBrk="0" hangingPunct="1">
        <a:spcBef>
          <a:spcPct val="20000"/>
        </a:spcBef>
        <a:buClr>
          <a:schemeClr val="tx2"/>
        </a:buClr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30188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1413" indent="-227013" algn="l" defTabSz="457200" rtl="0" eaLnBrk="1" latinLnBrk="0" hangingPunct="1">
        <a:spcBef>
          <a:spcPct val="20000"/>
        </a:spcBef>
        <a:buClr>
          <a:schemeClr val="tx2"/>
        </a:buClr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mailto:arazik@dovercorp.com" TargetMode="Externa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2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Subtitle 8">
            <a:extLst>
              <a:ext uri="{FF2B5EF4-FFF2-40B4-BE49-F238E27FC236}">
                <a16:creationId xmlns="" xmlns:a16="http://schemas.microsoft.com/office/drawing/2014/main" id="{858EDC1B-119A-4D63-B1C0-254DE11888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60431" y="1758463"/>
            <a:ext cx="6977575" cy="1350497"/>
          </a:xfrm>
        </p:spPr>
        <p:txBody>
          <a:bodyPr/>
          <a:lstStyle/>
          <a:p>
            <a:r>
              <a:rPr lang="en-IN" sz="3200" b="1" dirty="0" smtClean="0"/>
              <a:t>Terraform</a:t>
            </a:r>
            <a:endParaRPr lang="en-IN" sz="3200" b="1" dirty="0"/>
          </a:p>
          <a:p>
            <a:r>
              <a:rPr lang="en-IN" sz="2200" dirty="0" smtClean="0"/>
              <a:t>Automated delivery and management of cloud resources</a:t>
            </a:r>
            <a:endParaRPr lang="en-IN" sz="2200" dirty="0"/>
          </a:p>
        </p:txBody>
      </p:sp>
    </p:spTree>
    <p:extLst>
      <p:ext uri="{BB962C8B-B14F-4D97-AF65-F5344CB8AC3E}">
        <p14:creationId xmlns:p14="http://schemas.microsoft.com/office/powerpoint/2010/main" val="68669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1EDE145-BB72-457F-AAF8-7CE1614888C1}"/>
              </a:ext>
            </a:extLst>
          </p:cNvPr>
          <p:cNvSpPr/>
          <p:nvPr/>
        </p:nvSpPr>
        <p:spPr>
          <a:xfrm flipV="1">
            <a:off x="2026919" y="731521"/>
            <a:ext cx="8149763" cy="99880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IN" dirty="0">
              <a:solidFill>
                <a:srgbClr val="002647">
                  <a:lumMod val="10000"/>
                  <a:lumOff val="90000"/>
                </a:srgbClr>
              </a:solidFill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6282BF14-A47D-47EA-8100-B6B6290A3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5182" y="970671"/>
            <a:ext cx="8025618" cy="759656"/>
          </a:xfrm>
        </p:spPr>
        <p:txBody>
          <a:bodyPr/>
          <a:lstStyle/>
          <a:p>
            <a:r>
              <a:rPr lang="en-IN" sz="2800" dirty="0">
                <a:solidFill>
                  <a:schemeClr val="tx1"/>
                </a:solidFill>
                <a:latin typeface="arial" panose="020B0604020202020204" pitchFamily="34" charset="0"/>
              </a:rPr>
              <a:t>   </a:t>
            </a:r>
            <a:r>
              <a:rPr lang="en-IN" sz="2800" dirty="0" smtClean="0">
                <a:solidFill>
                  <a:schemeClr val="bg1"/>
                </a:solidFill>
                <a:latin typeface="arial" panose="020B0604020202020204" pitchFamily="34" charset="0"/>
              </a:rPr>
              <a:t>Output</a:t>
            </a: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Montserrat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Montserrat"/>
              </a:rPr>
            </a:br>
            <a:r>
              <a:rPr lang="en-IN" sz="1600" dirty="0">
                <a:solidFill>
                  <a:schemeClr val="tx1"/>
                </a:solidFill>
              </a:rPr>
              <a:t/>
            </a:r>
            <a:br>
              <a:rPr lang="en-IN" sz="1600" dirty="0">
                <a:solidFill>
                  <a:schemeClr val="tx1"/>
                </a:solidFill>
              </a:rPr>
            </a:br>
            <a:endParaRPr lang="en-IN" sz="1600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="" xmlns:a16="http://schemas.microsoft.com/office/drawing/2014/main" id="{3AF0D81B-0F59-486B-8E41-21D4BA8DA6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2312318"/>
              </p:ext>
            </p:extLst>
          </p:nvPr>
        </p:nvGraphicFramePr>
        <p:xfrm>
          <a:off x="2026920" y="1969477"/>
          <a:ext cx="8025617" cy="4157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25617">
                  <a:extLst>
                    <a:ext uri="{9D8B030D-6E8A-4147-A177-3AD203B41FA5}">
                      <a16:colId xmlns="" xmlns:a16="http://schemas.microsoft.com/office/drawing/2014/main" val="425575937"/>
                    </a:ext>
                  </a:extLst>
                </a:gridCol>
              </a:tblGrid>
              <a:tr h="4157002">
                <a:tc>
                  <a:txBody>
                    <a:bodyPr/>
                    <a:lstStyle/>
                    <a:p>
                      <a:pPr algn="just"/>
                      <a:r>
                        <a:rPr lang="en-IN" sz="2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fter applying the script we can confirm the results at azure portal:</a:t>
                      </a:r>
                      <a:endParaRPr lang="en-IN" sz="2000" b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54929682"/>
                  </a:ext>
                </a:extLst>
              </a:tr>
            </a:tbl>
          </a:graphicData>
        </a:graphic>
      </p:graphicFrame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0346" y="2558033"/>
            <a:ext cx="7582907" cy="297988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/>
          <p:cNvSpPr txBox="1"/>
          <p:nvPr/>
        </p:nvSpPr>
        <p:spPr>
          <a:xfrm>
            <a:off x="4048712" y="5549612"/>
            <a:ext cx="410617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9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Fig 7) Azure Portal screenshot with the Windows VM deployed using Terraform</a:t>
            </a:r>
            <a:endParaRPr lang="en-IN" sz="9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4867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1EDE145-BB72-457F-AAF8-7CE1614888C1}"/>
              </a:ext>
            </a:extLst>
          </p:cNvPr>
          <p:cNvSpPr/>
          <p:nvPr/>
        </p:nvSpPr>
        <p:spPr>
          <a:xfrm flipV="1">
            <a:off x="717230" y="471268"/>
            <a:ext cx="10644996" cy="99880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IN" dirty="0">
              <a:solidFill>
                <a:srgbClr val="002647">
                  <a:lumMod val="10000"/>
                  <a:lumOff val="90000"/>
                </a:srgbClr>
              </a:solidFill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6282BF14-A47D-47EA-8100-B6B6290A3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4649" y="772264"/>
            <a:ext cx="10110158" cy="759656"/>
          </a:xfrm>
        </p:spPr>
        <p:txBody>
          <a:bodyPr/>
          <a:lstStyle/>
          <a:p>
            <a:r>
              <a:rPr lang="en-IN" sz="2800" dirty="0">
                <a:solidFill>
                  <a:schemeClr val="tx1"/>
                </a:solidFill>
                <a:latin typeface="arial" panose="020B0604020202020204" pitchFamily="34" charset="0"/>
              </a:rPr>
              <a:t>   </a:t>
            </a:r>
            <a:r>
              <a:rPr lang="en-IN" sz="2400" dirty="0" smtClean="0">
                <a:solidFill>
                  <a:schemeClr val="bg1"/>
                </a:solidFill>
                <a:latin typeface="arial" panose="020B0604020202020204" pitchFamily="34" charset="0"/>
              </a:rPr>
              <a:t>Deployment of multiple instances of a resource using Terraform</a:t>
            </a: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Montserrat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Montserrat"/>
              </a:rPr>
            </a:br>
            <a:r>
              <a:rPr lang="en-IN" sz="1600" dirty="0">
                <a:solidFill>
                  <a:schemeClr val="tx1"/>
                </a:solidFill>
              </a:rPr>
              <a:t/>
            </a:r>
            <a:br>
              <a:rPr lang="en-IN" sz="1600" dirty="0">
                <a:solidFill>
                  <a:schemeClr val="tx1"/>
                </a:solidFill>
              </a:rPr>
            </a:br>
            <a:endParaRPr lang="en-IN" sz="1600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="" xmlns:a16="http://schemas.microsoft.com/office/drawing/2014/main" id="{3AF0D81B-0F59-486B-8E41-21D4BA8DA6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0287449"/>
              </p:ext>
            </p:extLst>
          </p:nvPr>
        </p:nvGraphicFramePr>
        <p:xfrm>
          <a:off x="717230" y="1771070"/>
          <a:ext cx="10644996" cy="43554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44996">
                  <a:extLst>
                    <a:ext uri="{9D8B030D-6E8A-4147-A177-3AD203B41FA5}">
                      <a16:colId xmlns="" xmlns:a16="http://schemas.microsoft.com/office/drawing/2014/main" val="425575937"/>
                    </a:ext>
                  </a:extLst>
                </a:gridCol>
              </a:tblGrid>
              <a:tr h="4355409">
                <a:tc>
                  <a:txBody>
                    <a:bodyPr/>
                    <a:lstStyle/>
                    <a:p>
                      <a:pPr algn="just"/>
                      <a:r>
                        <a:rPr lang="en-IN" sz="2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 deploy multiple instances of a resource using Terraform we need to follow the following workflow:</a:t>
                      </a:r>
                    </a:p>
                    <a:p>
                      <a:pPr algn="just"/>
                      <a:endParaRPr lang="en-IN" sz="20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n-IN" sz="2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ere steps 1- 3 are same as of the deployment of a resource, the modification is in the script that we need to prepare.</a:t>
                      </a:r>
                    </a:p>
                    <a:p>
                      <a:pPr algn="just"/>
                      <a:endParaRPr lang="en-IN" sz="20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2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repare the script: To deploy multiple instances of a resource we need to put the configuration of that resource in a module then call that module multiple times from the root script.</a:t>
                      </a: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endParaRPr lang="en-IN" sz="20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2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pply the script: To apply the script we need to follow the same workflow as before.</a:t>
                      </a:r>
                    </a:p>
                    <a:p>
                      <a:pPr algn="just"/>
                      <a:endParaRPr lang="en-IN" sz="2000" b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54929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415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1EDE145-BB72-457F-AAF8-7CE1614888C1}"/>
              </a:ext>
            </a:extLst>
          </p:cNvPr>
          <p:cNvSpPr/>
          <p:nvPr/>
        </p:nvSpPr>
        <p:spPr>
          <a:xfrm flipV="1">
            <a:off x="1716370" y="590843"/>
            <a:ext cx="8138160" cy="99880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IN" dirty="0">
              <a:solidFill>
                <a:srgbClr val="002647">
                  <a:lumMod val="10000"/>
                  <a:lumOff val="90000"/>
                </a:srgbClr>
              </a:solidFill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6282BF14-A47D-47EA-8100-B6B6290A3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0292" y="792089"/>
            <a:ext cx="8025618" cy="759656"/>
          </a:xfrm>
        </p:spPr>
        <p:txBody>
          <a:bodyPr/>
          <a:lstStyle/>
          <a:p>
            <a:r>
              <a:rPr lang="en-IN" sz="2800" dirty="0">
                <a:solidFill>
                  <a:schemeClr val="bg1"/>
                </a:solidFill>
                <a:latin typeface="arial" panose="020B0604020202020204" pitchFamily="34" charset="0"/>
              </a:rPr>
              <a:t>   </a:t>
            </a:r>
            <a:r>
              <a:rPr lang="en-IN" sz="2800" dirty="0" smtClean="0">
                <a:solidFill>
                  <a:schemeClr val="bg1"/>
                </a:solidFill>
                <a:latin typeface="arial" panose="020B0604020202020204" pitchFamily="34" charset="0"/>
              </a:rPr>
              <a:t>Output</a:t>
            </a: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b="0" dirty="0">
                <a:solidFill>
                  <a:schemeClr val="tx1"/>
                </a:solidFill>
                <a:latin typeface="arial" panose="020B0604020202020204" pitchFamily="34" charset="0"/>
              </a:rPr>
              <a:t>After applying the script we can confirm the results at azure </a:t>
            </a:r>
            <a:r>
              <a:rPr lang="en-IN" sz="1600" b="0" dirty="0" smtClean="0">
                <a:solidFill>
                  <a:schemeClr val="tx1"/>
                </a:solidFill>
                <a:latin typeface="arial" panose="020B0604020202020204" pitchFamily="34" charset="0"/>
              </a:rPr>
              <a:t>portal:</a:t>
            </a:r>
            <a:r>
              <a:rPr lang="en-IN" sz="1600" dirty="0">
                <a:solidFill>
                  <a:schemeClr val="tx1"/>
                </a:solidFill>
                <a:latin typeface="Montserrat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Montserrat"/>
              </a:rPr>
            </a:br>
            <a:r>
              <a:rPr lang="en-IN" sz="1600" dirty="0">
                <a:solidFill>
                  <a:schemeClr val="tx1"/>
                </a:solidFill>
              </a:rPr>
              <a:t/>
            </a:r>
            <a:br>
              <a:rPr lang="en-IN" sz="1600" dirty="0">
                <a:solidFill>
                  <a:schemeClr val="tx1"/>
                </a:solidFill>
              </a:rPr>
            </a:b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356212" y="5037827"/>
            <a:ext cx="28584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900" i="1" dirty="0"/>
              <a:t>Figure </a:t>
            </a:r>
            <a:r>
              <a:rPr lang="en-IN" sz="900" i="1" dirty="0" smtClean="0"/>
              <a:t>8) 4 Linux VMs deployed using a single script</a:t>
            </a:r>
            <a:endParaRPr lang="en-IN" sz="900" i="1" dirty="0"/>
          </a:p>
        </p:txBody>
      </p:sp>
      <p:pic>
        <p:nvPicPr>
          <p:cNvPr id="9" name="Picture 8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4888" y="2335524"/>
            <a:ext cx="7681124" cy="270230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277019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1EDE145-BB72-457F-AAF8-7CE1614888C1}"/>
              </a:ext>
            </a:extLst>
          </p:cNvPr>
          <p:cNvSpPr/>
          <p:nvPr/>
        </p:nvSpPr>
        <p:spPr>
          <a:xfrm flipV="1">
            <a:off x="2026920" y="731520"/>
            <a:ext cx="8138160" cy="99880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IN" dirty="0">
              <a:solidFill>
                <a:srgbClr val="002647">
                  <a:lumMod val="10000"/>
                  <a:lumOff val="90000"/>
                </a:srgbClr>
              </a:solidFill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6282BF14-A47D-47EA-8100-B6B6290A3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5182" y="970672"/>
            <a:ext cx="8025618" cy="394105"/>
          </a:xfrm>
        </p:spPr>
        <p:txBody>
          <a:bodyPr/>
          <a:lstStyle/>
          <a:p>
            <a:pPr algn="ctr"/>
            <a:r>
              <a:rPr lang="en-IN" sz="2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hank you!!!</a:t>
            </a:r>
          </a:p>
        </p:txBody>
      </p:sp>
      <p:graphicFrame>
        <p:nvGraphicFramePr>
          <p:cNvPr id="2" name="Table 2">
            <a:extLst>
              <a:ext uri="{FF2B5EF4-FFF2-40B4-BE49-F238E27FC236}">
                <a16:creationId xmlns="" xmlns:a16="http://schemas.microsoft.com/office/drawing/2014/main" id="{3AF0D81B-0F59-486B-8E41-21D4BA8DA6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4431944"/>
              </p:ext>
            </p:extLst>
          </p:nvPr>
        </p:nvGraphicFramePr>
        <p:xfrm>
          <a:off x="2185182" y="1911965"/>
          <a:ext cx="7867355" cy="38516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67355">
                  <a:extLst>
                    <a:ext uri="{9D8B030D-6E8A-4147-A177-3AD203B41FA5}">
                      <a16:colId xmlns="" xmlns:a16="http://schemas.microsoft.com/office/drawing/2014/main" val="425575937"/>
                    </a:ext>
                  </a:extLst>
                </a:gridCol>
              </a:tblGrid>
              <a:tr h="3851676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IN" sz="2000" b="0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IN" sz="2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IN" sz="2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IN" sz="2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estions???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IN" sz="2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IN" sz="2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r">
                        <a:buFont typeface="Arial" panose="020B0604020202020204" pitchFamily="34" charset="0"/>
                        <a:buNone/>
                      </a:pPr>
                      <a:endParaRPr lang="en-IN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r">
                        <a:buFont typeface="Arial" panose="020B0604020202020204" pitchFamily="34" charset="0"/>
                        <a:buNone/>
                      </a:pPr>
                      <a:endParaRPr lang="en-IN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r">
                        <a:buFont typeface="Arial" panose="020B0604020202020204" pitchFamily="34" charset="0"/>
                        <a:buNone/>
                      </a:pPr>
                      <a:endParaRPr lang="en-IN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r">
                        <a:buFont typeface="Arial" panose="020B0604020202020204" pitchFamily="34" charset="0"/>
                        <a:buNone/>
                      </a:pPr>
                      <a:endParaRPr lang="en-IN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IN" sz="1400" b="0" kern="1200" dirty="0" smtClean="0">
                        <a:solidFill>
                          <a:schemeClr val="accent5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IN" sz="1400" b="0" kern="1200" dirty="0" smtClean="0">
                        <a:solidFill>
                          <a:schemeClr val="accent5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IN" sz="1400" b="0" kern="1200" dirty="0" smtClean="0">
                        <a:solidFill>
                          <a:schemeClr val="accent5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IN" sz="1400" b="0" kern="1200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sented by - Dover IT  </a:t>
                      </a:r>
                      <a:endParaRPr lang="en-IN" sz="2000" b="0" dirty="0">
                        <a:solidFill>
                          <a:schemeClr val="accent5"/>
                        </a:solidFill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54929682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860099" y="5132718"/>
            <a:ext cx="41924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defTabSz="457200"/>
            <a:r>
              <a:rPr lang="en-IN" sz="1400">
                <a:solidFill>
                  <a:srgbClr val="000000"/>
                </a:solidFill>
              </a:rPr>
              <a:t>Lakshay Sethi - </a:t>
            </a:r>
            <a:r>
              <a:rPr lang="en-IN" sz="1400" u="sng">
                <a:solidFill>
                  <a:srgbClr val="002647">
                    <a:lumMod val="90000"/>
                    <a:lumOff val="10000"/>
                  </a:srgbClr>
                </a:solidFill>
              </a:rPr>
              <a:t>c-lsethi@dovercorp.com</a:t>
            </a:r>
          </a:p>
          <a:p>
            <a:pPr lvl="0" algn="r" defTabSz="457200"/>
            <a:r>
              <a:rPr lang="en-IN" sz="1400">
                <a:solidFill>
                  <a:srgbClr val="000000"/>
                </a:solidFill>
              </a:rPr>
              <a:t>Abdul Razik - </a:t>
            </a:r>
            <a:r>
              <a:rPr lang="en-IN" sz="1400" u="sng">
                <a:solidFill>
                  <a:srgbClr val="002647">
                    <a:lumMod val="75000"/>
                    <a:lumOff val="25000"/>
                  </a:srgbClr>
                </a:solidFill>
                <a:hlinkClick r:id="rId2"/>
              </a:rPr>
              <a:t>arazik@dovercorp.com</a:t>
            </a:r>
            <a:endParaRPr lang="en-IN" sz="1400" u="sng" dirty="0">
              <a:solidFill>
                <a:srgbClr val="002647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565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1EDE145-BB72-457F-AAF8-7CE1614888C1}"/>
              </a:ext>
            </a:extLst>
          </p:cNvPr>
          <p:cNvSpPr/>
          <p:nvPr/>
        </p:nvSpPr>
        <p:spPr>
          <a:xfrm flipV="1">
            <a:off x="2026920" y="731520"/>
            <a:ext cx="8138160" cy="99880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IN" dirty="0">
              <a:solidFill>
                <a:srgbClr val="002647">
                  <a:lumMod val="10000"/>
                  <a:lumOff val="90000"/>
                </a:srgbClr>
              </a:solidFill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6282BF14-A47D-47EA-8100-B6B6290A3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5182" y="970671"/>
            <a:ext cx="8025618" cy="759656"/>
          </a:xfrm>
        </p:spPr>
        <p:txBody>
          <a:bodyPr/>
          <a:lstStyle/>
          <a:p>
            <a:r>
              <a:rPr lang="en-IN" sz="2800" dirty="0">
                <a:solidFill>
                  <a:schemeClr val="bg1"/>
                </a:solidFill>
                <a:latin typeface="arial" panose="020B0604020202020204" pitchFamily="34" charset="0"/>
              </a:rPr>
              <a:t>   What </a:t>
            </a:r>
            <a:r>
              <a:rPr lang="en-IN" sz="2800" dirty="0" smtClean="0">
                <a:solidFill>
                  <a:schemeClr val="bg1"/>
                </a:solidFill>
                <a:latin typeface="arial" panose="020B0604020202020204" pitchFamily="34" charset="0"/>
              </a:rPr>
              <a:t>is Infrastructure as Code (IaC)?</a:t>
            </a: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Montserrat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Montserrat"/>
              </a:rPr>
            </a:br>
            <a:r>
              <a:rPr lang="en-IN" sz="1600" dirty="0">
                <a:solidFill>
                  <a:schemeClr val="tx1"/>
                </a:solidFill>
              </a:rPr>
              <a:t/>
            </a:r>
            <a:br>
              <a:rPr lang="en-IN" sz="1600" dirty="0">
                <a:solidFill>
                  <a:schemeClr val="tx1"/>
                </a:solidFill>
              </a:rPr>
            </a:br>
            <a:endParaRPr lang="en-IN" sz="1600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="" xmlns:a16="http://schemas.microsoft.com/office/drawing/2014/main" id="{3AF0D81B-0F59-486B-8E41-21D4BA8DA6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4115207"/>
              </p:ext>
            </p:extLst>
          </p:nvPr>
        </p:nvGraphicFramePr>
        <p:xfrm>
          <a:off x="2026920" y="1969477"/>
          <a:ext cx="7869110" cy="41208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69110">
                  <a:extLst>
                    <a:ext uri="{9D8B030D-6E8A-4147-A177-3AD203B41FA5}">
                      <a16:colId xmlns="" xmlns:a16="http://schemas.microsoft.com/office/drawing/2014/main" val="425575937"/>
                    </a:ext>
                  </a:extLst>
                </a:gridCol>
              </a:tblGrid>
              <a:tr h="4120826">
                <a:tc>
                  <a:txBody>
                    <a:bodyPr/>
                    <a:lstStyle/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r>
                        <a:rPr lang="en-US" sz="1800" b="0" i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</a:rPr>
                        <a:t>Infrastructure</a:t>
                      </a:r>
                      <a:r>
                        <a:rPr lang="en-US" sz="1800" b="0" i="0" baseline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</a:rPr>
                        <a:t> as Code (</a:t>
                      </a:r>
                      <a:r>
                        <a:rPr lang="en-US" sz="1800" b="0" i="0" baseline="0" dirty="0" err="1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</a:rPr>
                        <a:t>IaC</a:t>
                      </a:r>
                      <a:r>
                        <a:rPr lang="en-US" sz="1800" b="0" i="0" baseline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</a:rPr>
                        <a:t>) is a paradigm where we define/characterize our computing infrastructure using configuration files.</a:t>
                      </a:r>
                    </a:p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endParaRPr lang="en-US" sz="1800" b="0" i="0" dirty="0">
                        <a:solidFill>
                          <a:srgbClr val="202124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r>
                        <a:rPr lang="en-US" sz="1800" b="0" i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</a:rPr>
                        <a:t>Benefits</a:t>
                      </a:r>
                      <a:r>
                        <a:rPr lang="en-US" sz="1800" b="0" i="0" baseline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</a:rPr>
                        <a:t> of Infrastructure as Code (</a:t>
                      </a:r>
                      <a:r>
                        <a:rPr lang="en-US" sz="1800" b="0" i="0" baseline="0" dirty="0" err="1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</a:rPr>
                        <a:t>IaC</a:t>
                      </a:r>
                      <a:r>
                        <a:rPr lang="en-US" sz="1800" b="0" i="0" baseline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r>
                        <a:rPr lang="en-US" sz="1800" b="0" i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</a:rPr>
                        <a:t>,</a:t>
                      </a:r>
                      <a:endParaRPr lang="en-US" sz="1800" b="0" i="0" dirty="0">
                        <a:solidFill>
                          <a:srgbClr val="202124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endParaRPr lang="en-US" sz="1100" b="0" i="0" dirty="0">
                        <a:solidFill>
                          <a:srgbClr val="202124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1800" b="0" i="0" kern="1200" baseline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aster Release Cycles and High-Quality Delivery</a:t>
                      </a:r>
                    </a:p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endParaRPr lang="en-IN" sz="900" b="0" i="0" kern="1200" baseline="0" dirty="0" smtClean="0">
                        <a:solidFill>
                          <a:srgbClr val="20212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1800" b="0" i="0" kern="1200" baseline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ore Institutional knowledge</a:t>
                      </a: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endParaRPr lang="en-IN" sz="900" b="0" i="0" kern="1200" baseline="0" dirty="0" smtClean="0">
                        <a:solidFill>
                          <a:srgbClr val="20212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1800" b="0" i="0" kern="1200" baseline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redictability and Idempotency</a:t>
                      </a: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endParaRPr lang="en-IN" sz="900" b="0" i="0" kern="1200" baseline="0" dirty="0" smtClean="0">
                        <a:solidFill>
                          <a:srgbClr val="20212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1800" b="0" i="0" kern="1200" baseline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tter Collaboration between Dev and Operations</a:t>
                      </a: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endParaRPr lang="en-IN" sz="900" b="0" i="0" kern="1200" baseline="0" dirty="0" smtClean="0">
                        <a:solidFill>
                          <a:srgbClr val="20212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1800" b="0" i="0" kern="1200" baseline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nables Effective DevOps</a:t>
                      </a:r>
                      <a:endParaRPr lang="en-IN" sz="1800" b="0" i="0" kern="1200" baseline="0" dirty="0">
                        <a:solidFill>
                          <a:srgbClr val="20212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54929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9660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1EDE145-BB72-457F-AAF8-7CE1614888C1}"/>
              </a:ext>
            </a:extLst>
          </p:cNvPr>
          <p:cNvSpPr/>
          <p:nvPr/>
        </p:nvSpPr>
        <p:spPr>
          <a:xfrm flipV="1">
            <a:off x="2003196" y="752202"/>
            <a:ext cx="8139600" cy="99880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IN" dirty="0">
              <a:solidFill>
                <a:srgbClr val="002647">
                  <a:lumMod val="10000"/>
                  <a:lumOff val="90000"/>
                </a:srgbClr>
              </a:solidFill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6282BF14-A47D-47EA-8100-B6B6290A3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5182" y="970671"/>
            <a:ext cx="8025618" cy="759656"/>
          </a:xfrm>
        </p:spPr>
        <p:txBody>
          <a:bodyPr/>
          <a:lstStyle/>
          <a:p>
            <a:r>
              <a:rPr lang="en-IN" sz="2800" dirty="0">
                <a:solidFill>
                  <a:schemeClr val="tx1"/>
                </a:solidFill>
                <a:latin typeface="arial" panose="020B0604020202020204" pitchFamily="34" charset="0"/>
              </a:rPr>
              <a:t>   </a:t>
            </a:r>
            <a:r>
              <a:rPr lang="en-IN" sz="2800" dirty="0" smtClean="0">
                <a:solidFill>
                  <a:schemeClr val="bg1"/>
                </a:solidFill>
                <a:latin typeface="arial" panose="020B0604020202020204" pitchFamily="34" charset="0"/>
              </a:rPr>
              <a:t>Terraform</a:t>
            </a: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Montserrat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Montserrat"/>
              </a:rPr>
            </a:br>
            <a:r>
              <a:rPr lang="en-IN" sz="1600" dirty="0">
                <a:solidFill>
                  <a:schemeClr val="tx1"/>
                </a:solidFill>
              </a:rPr>
              <a:t/>
            </a:r>
            <a:br>
              <a:rPr lang="en-IN" sz="1600" dirty="0">
                <a:solidFill>
                  <a:schemeClr val="tx1"/>
                </a:solidFill>
              </a:rPr>
            </a:br>
            <a:endParaRPr lang="en-IN" sz="1600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="" xmlns:a16="http://schemas.microsoft.com/office/drawing/2014/main" id="{3AF0D81B-0F59-486B-8E41-21D4BA8DA6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6993623"/>
              </p:ext>
            </p:extLst>
          </p:nvPr>
        </p:nvGraphicFramePr>
        <p:xfrm>
          <a:off x="2003196" y="1751008"/>
          <a:ext cx="8139600" cy="45269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39600">
                  <a:extLst>
                    <a:ext uri="{9D8B030D-6E8A-4147-A177-3AD203B41FA5}">
                      <a16:colId xmlns="" xmlns:a16="http://schemas.microsoft.com/office/drawing/2014/main" val="425575937"/>
                    </a:ext>
                  </a:extLst>
                </a:gridCol>
              </a:tblGrid>
              <a:tr h="452696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IN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r>
                        <a:rPr lang="en-IN" sz="1800" b="0" i="0" kern="1200" baseline="0" dirty="0" err="1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ashiCorp’s</a:t>
                      </a:r>
                      <a:r>
                        <a:rPr lang="en-IN" sz="1800" b="0" i="0" kern="1200" baseline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Terraform is one of the leading open-source, cross-platform, multi-cloud, hybrid IaC tools available to provision and manage IT and development resources on any cloud.</a:t>
                      </a:r>
                    </a:p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endParaRPr lang="en-IN" sz="20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r>
                        <a:rPr lang="en-US" sz="1800" b="0" i="0" kern="1200" baseline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nefits of using Terraform,</a:t>
                      </a:r>
                    </a:p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endParaRPr lang="en-US" sz="1100" b="0" i="0" kern="1200" baseline="0" dirty="0" smtClean="0">
                        <a:solidFill>
                          <a:srgbClr val="20212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1800" b="0" i="0" kern="1200" baseline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pen-source, multi-cloud and Declarative IaC tool</a:t>
                      </a: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endParaRPr lang="en-IN" sz="900" b="0" i="0" kern="1200" baseline="0" dirty="0" smtClean="0">
                        <a:solidFill>
                          <a:srgbClr val="20212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1800" b="0" i="0" kern="1200" baseline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an be used to manage various cloud resources</a:t>
                      </a: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endParaRPr lang="en-IN" sz="900" b="0" i="0" kern="1200" baseline="0" dirty="0" smtClean="0">
                        <a:solidFill>
                          <a:srgbClr val="20212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1800" b="0" i="0" kern="1200" baseline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ogging, auditing, remote state and locking feature</a:t>
                      </a: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endParaRPr lang="en-IN" sz="900" b="0" i="0" kern="1200" baseline="0" dirty="0" smtClean="0">
                        <a:solidFill>
                          <a:srgbClr val="20212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1800" b="0" i="0" kern="1200" baseline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ime and resource savings</a:t>
                      </a: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endParaRPr lang="en-IN" sz="900" b="0" i="0" kern="1200" baseline="0" dirty="0" smtClean="0">
                        <a:solidFill>
                          <a:srgbClr val="20212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1800" b="0" i="0" kern="1200" baseline="0" dirty="0" smtClean="0">
                          <a:solidFill>
                            <a:srgbClr val="202124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ll the benefits of IaC like multiple instances of a resource, multiple working environments, etc.</a:t>
                      </a:r>
                      <a:r>
                        <a:rPr lang="en-IN" sz="2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54929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2428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1EDE145-BB72-457F-AAF8-7CE1614888C1}"/>
              </a:ext>
            </a:extLst>
          </p:cNvPr>
          <p:cNvSpPr/>
          <p:nvPr/>
        </p:nvSpPr>
        <p:spPr>
          <a:xfrm flipV="1">
            <a:off x="2026919" y="731521"/>
            <a:ext cx="8149763" cy="99880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IN" dirty="0">
              <a:solidFill>
                <a:srgbClr val="002647">
                  <a:lumMod val="10000"/>
                  <a:lumOff val="90000"/>
                </a:srgbClr>
              </a:solidFill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6282BF14-A47D-47EA-8100-B6B6290A3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5182" y="970671"/>
            <a:ext cx="8025618" cy="759656"/>
          </a:xfrm>
        </p:spPr>
        <p:txBody>
          <a:bodyPr/>
          <a:lstStyle/>
          <a:p>
            <a:r>
              <a:rPr lang="en-IN" sz="2800" dirty="0">
                <a:solidFill>
                  <a:schemeClr val="tx1"/>
                </a:solidFill>
                <a:latin typeface="arial" panose="020B0604020202020204" pitchFamily="34" charset="0"/>
              </a:rPr>
              <a:t>   </a:t>
            </a:r>
            <a:r>
              <a:rPr lang="en-IN" sz="2800" dirty="0" smtClean="0">
                <a:solidFill>
                  <a:schemeClr val="bg1"/>
                </a:solidFill>
                <a:latin typeface="arial" panose="020B0604020202020204" pitchFamily="34" charset="0"/>
              </a:rPr>
              <a:t>Terraform architecture</a:t>
            </a: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Montserrat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Montserrat"/>
              </a:rPr>
            </a:br>
            <a:r>
              <a:rPr lang="en-IN" sz="1600" dirty="0">
                <a:solidFill>
                  <a:schemeClr val="tx1"/>
                </a:solidFill>
              </a:rPr>
              <a:t/>
            </a:r>
            <a:br>
              <a:rPr lang="en-IN" sz="1600" dirty="0">
                <a:solidFill>
                  <a:schemeClr val="tx1"/>
                </a:solidFill>
              </a:rPr>
            </a:br>
            <a:endParaRPr lang="en-IN" sz="1600" dirty="0">
              <a:solidFill>
                <a:schemeClr val="tx1"/>
              </a:solidFill>
            </a:endParaRPr>
          </a:p>
        </p:txBody>
      </p:sp>
      <p:pic>
        <p:nvPicPr>
          <p:cNvPr id="5" name="image3.png"/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2841015" y="2288655"/>
            <a:ext cx="6521569" cy="3171866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942624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1EDE145-BB72-457F-AAF8-7CE1614888C1}"/>
              </a:ext>
            </a:extLst>
          </p:cNvPr>
          <p:cNvSpPr/>
          <p:nvPr/>
        </p:nvSpPr>
        <p:spPr>
          <a:xfrm flipV="1">
            <a:off x="2061037" y="731521"/>
            <a:ext cx="8149763" cy="99880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IN" dirty="0">
              <a:solidFill>
                <a:srgbClr val="002647">
                  <a:lumMod val="10000"/>
                  <a:lumOff val="90000"/>
                </a:srgbClr>
              </a:solidFill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6282BF14-A47D-47EA-8100-B6B6290A3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5182" y="970671"/>
            <a:ext cx="8025618" cy="759656"/>
          </a:xfrm>
        </p:spPr>
        <p:txBody>
          <a:bodyPr/>
          <a:lstStyle/>
          <a:p>
            <a:r>
              <a:rPr lang="en-IN" sz="2800" dirty="0">
                <a:solidFill>
                  <a:schemeClr val="tx1"/>
                </a:solidFill>
                <a:latin typeface="arial" panose="020B0604020202020204" pitchFamily="34" charset="0"/>
              </a:rPr>
              <a:t>   </a:t>
            </a:r>
            <a:r>
              <a:rPr lang="en-IN" sz="2800" dirty="0" smtClean="0">
                <a:solidFill>
                  <a:schemeClr val="bg1"/>
                </a:solidFill>
                <a:latin typeface="arial" panose="020B0604020202020204" pitchFamily="34" charset="0"/>
              </a:rPr>
              <a:t>Components of Terraform script</a:t>
            </a: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Montserrat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Montserrat"/>
              </a:rPr>
            </a:br>
            <a:r>
              <a:rPr lang="en-IN" sz="1600" dirty="0">
                <a:solidFill>
                  <a:schemeClr val="tx1"/>
                </a:solidFill>
              </a:rPr>
              <a:t/>
            </a:r>
            <a:br>
              <a:rPr lang="en-IN" sz="1600" dirty="0">
                <a:solidFill>
                  <a:schemeClr val="tx1"/>
                </a:solidFill>
              </a:rPr>
            </a:br>
            <a:endParaRPr lang="en-IN" sz="1600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="" xmlns:a16="http://schemas.microsoft.com/office/drawing/2014/main" id="{3AF0D81B-0F59-486B-8E41-21D4BA8DA6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117961"/>
              </p:ext>
            </p:extLst>
          </p:nvPr>
        </p:nvGraphicFramePr>
        <p:xfrm>
          <a:off x="2061036" y="1969477"/>
          <a:ext cx="8149763" cy="4157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49763">
                  <a:extLst>
                    <a:ext uri="{9D8B030D-6E8A-4147-A177-3AD203B41FA5}">
                      <a16:colId xmlns="" xmlns:a16="http://schemas.microsoft.com/office/drawing/2014/main" val="425575937"/>
                    </a:ext>
                  </a:extLst>
                </a:gridCol>
              </a:tblGrid>
              <a:tr h="4157002">
                <a:tc>
                  <a:txBody>
                    <a:bodyPr/>
                    <a:lstStyle/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r>
                        <a:rPr lang="en-IN" sz="18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Some</a:t>
                      </a:r>
                      <a:r>
                        <a:rPr lang="en-IN" sz="18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of the building blocks of a terraform script are:</a:t>
                      </a:r>
                    </a:p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endParaRPr lang="en-IN" sz="16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18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State file</a:t>
                      </a:r>
                      <a:r>
                        <a:rPr lang="en-IN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 state file is a Terraform owned, text-based (JSON), dynamically generated file containing information about the resource configuration. </a:t>
                      </a:r>
                      <a:endParaRPr lang="en-IN" sz="1800" b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endParaRPr lang="en-IN" sz="12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18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Variables</a:t>
                      </a:r>
                      <a:r>
                        <a:rPr lang="en-IN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Variables are placeholders in the configuration that accept</a:t>
                      </a:r>
                      <a:r>
                        <a:rPr lang="en-IN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xternal values as parameters during execution time.</a:t>
                      </a:r>
                      <a:endParaRPr lang="en-IN" sz="1800" b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endParaRPr lang="en-IN" sz="12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18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Resources: </a:t>
                      </a:r>
                      <a:r>
                        <a:rPr lang="en-IN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hey </a:t>
                      </a: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scribes one or more infrastructure objects.</a:t>
                      </a:r>
                      <a:endParaRPr lang="en-IN" sz="1800" b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endParaRPr lang="en-IN" sz="12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18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Data</a:t>
                      </a:r>
                      <a:r>
                        <a:rPr lang="en-IN" sz="18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resources:</a:t>
                      </a:r>
                      <a:r>
                        <a:rPr lang="en-IN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ata sources allow Terraform to use the resource</a:t>
                      </a:r>
                      <a:r>
                        <a:rPr lang="en-US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objects </a:t>
                      </a: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fined outside of</a:t>
                      </a:r>
                      <a:r>
                        <a:rPr lang="en-IN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erraform.</a:t>
                      </a:r>
                      <a:endParaRPr lang="en-IN" sz="1800" b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IN" sz="1200" b="1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IN" sz="18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Modules:</a:t>
                      </a:r>
                      <a:r>
                        <a:rPr lang="en-IN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 module is a container for multiple resources that are used together.</a:t>
                      </a:r>
                      <a:endParaRPr lang="en-IN" sz="18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54929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252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1EDE145-BB72-457F-AAF8-7CE1614888C1}"/>
              </a:ext>
            </a:extLst>
          </p:cNvPr>
          <p:cNvSpPr/>
          <p:nvPr/>
        </p:nvSpPr>
        <p:spPr>
          <a:xfrm flipV="1">
            <a:off x="2061037" y="731521"/>
            <a:ext cx="8149763" cy="99880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IN" dirty="0">
              <a:solidFill>
                <a:srgbClr val="002647">
                  <a:lumMod val="10000"/>
                  <a:lumOff val="90000"/>
                </a:srgbClr>
              </a:solidFill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6282BF14-A47D-47EA-8100-B6B6290A3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5182" y="970671"/>
            <a:ext cx="8025618" cy="759656"/>
          </a:xfrm>
        </p:spPr>
        <p:txBody>
          <a:bodyPr/>
          <a:lstStyle/>
          <a:p>
            <a:r>
              <a:rPr lang="en-IN" sz="2800" dirty="0">
                <a:solidFill>
                  <a:schemeClr val="tx1"/>
                </a:solidFill>
                <a:latin typeface="arial" panose="020B0604020202020204" pitchFamily="34" charset="0"/>
              </a:rPr>
              <a:t>   </a:t>
            </a:r>
            <a:r>
              <a:rPr lang="en-IN" sz="2800" dirty="0" smtClean="0">
                <a:solidFill>
                  <a:schemeClr val="bg1"/>
                </a:solidFill>
                <a:latin typeface="arial" panose="020B0604020202020204" pitchFamily="34" charset="0"/>
              </a:rPr>
              <a:t>Objectives</a:t>
            </a: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Montserrat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Montserrat"/>
              </a:rPr>
            </a:br>
            <a:r>
              <a:rPr lang="en-IN" sz="1600" dirty="0">
                <a:solidFill>
                  <a:schemeClr val="tx1"/>
                </a:solidFill>
              </a:rPr>
              <a:t/>
            </a:r>
            <a:br>
              <a:rPr lang="en-IN" sz="1600" dirty="0">
                <a:solidFill>
                  <a:schemeClr val="tx1"/>
                </a:solidFill>
              </a:rPr>
            </a:br>
            <a:endParaRPr lang="en-IN" sz="1600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="" xmlns:a16="http://schemas.microsoft.com/office/drawing/2014/main" id="{3AF0D81B-0F59-486B-8E41-21D4BA8DA6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4861382"/>
              </p:ext>
            </p:extLst>
          </p:nvPr>
        </p:nvGraphicFramePr>
        <p:xfrm>
          <a:off x="2061036" y="1969477"/>
          <a:ext cx="8149763" cy="4157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49763">
                  <a:extLst>
                    <a:ext uri="{9D8B030D-6E8A-4147-A177-3AD203B41FA5}">
                      <a16:colId xmlns="" xmlns:a16="http://schemas.microsoft.com/office/drawing/2014/main" val="425575937"/>
                    </a:ext>
                  </a:extLst>
                </a:gridCol>
              </a:tblGrid>
              <a:tr h="4157002">
                <a:tc>
                  <a:txBody>
                    <a:bodyPr/>
                    <a:lstStyle/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r>
                        <a:rPr lang="en-IN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he</a:t>
                      </a:r>
                      <a:r>
                        <a:rPr lang="en-IN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objectives of this project are:</a:t>
                      </a:r>
                    </a:p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endParaRPr lang="en-IN" sz="18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ploy a single resource (Virtual Machine) using Terraform.</a:t>
                      </a: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endParaRPr lang="en-IN" sz="18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n-IN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ploy multiple instances of a resource (Virtual Machine) by running Terraform script single time.</a:t>
                      </a:r>
                      <a:endParaRPr lang="en-IN" sz="18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54929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0979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1EDE145-BB72-457F-AAF8-7CE1614888C1}"/>
              </a:ext>
            </a:extLst>
          </p:cNvPr>
          <p:cNvSpPr/>
          <p:nvPr/>
        </p:nvSpPr>
        <p:spPr>
          <a:xfrm flipV="1">
            <a:off x="672860" y="498818"/>
            <a:ext cx="10584611" cy="99880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IN" dirty="0">
              <a:solidFill>
                <a:srgbClr val="002647">
                  <a:lumMod val="10000"/>
                  <a:lumOff val="90000"/>
                </a:srgbClr>
              </a:solidFill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6282BF14-A47D-47EA-8100-B6B6290A3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5585" y="737968"/>
            <a:ext cx="8025618" cy="759656"/>
          </a:xfrm>
        </p:spPr>
        <p:txBody>
          <a:bodyPr/>
          <a:lstStyle/>
          <a:p>
            <a:r>
              <a:rPr lang="en-IN" sz="2800" dirty="0">
                <a:solidFill>
                  <a:schemeClr val="tx1"/>
                </a:solidFill>
                <a:latin typeface="arial" panose="020B0604020202020204" pitchFamily="34" charset="0"/>
              </a:rPr>
              <a:t>   </a:t>
            </a:r>
            <a:r>
              <a:rPr lang="en-IN" sz="2800" dirty="0" smtClean="0">
                <a:solidFill>
                  <a:schemeClr val="bg1"/>
                </a:solidFill>
                <a:latin typeface="arial" panose="020B0604020202020204" pitchFamily="34" charset="0"/>
              </a:rPr>
              <a:t>Deployment of resource using Terraform</a:t>
            </a: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Montserrat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Montserrat"/>
              </a:rPr>
            </a:br>
            <a:r>
              <a:rPr lang="en-IN" sz="1600" dirty="0">
                <a:solidFill>
                  <a:schemeClr val="tx1"/>
                </a:solidFill>
              </a:rPr>
              <a:t/>
            </a:r>
            <a:br>
              <a:rPr lang="en-IN" sz="1600" dirty="0">
                <a:solidFill>
                  <a:schemeClr val="tx1"/>
                </a:solidFill>
              </a:rPr>
            </a:br>
            <a:endParaRPr lang="en-IN" sz="1600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="" xmlns:a16="http://schemas.microsoft.com/office/drawing/2014/main" id="{3AF0D81B-0F59-486B-8E41-21D4BA8DA6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3172373"/>
              </p:ext>
            </p:extLst>
          </p:nvPr>
        </p:nvGraphicFramePr>
        <p:xfrm>
          <a:off x="672861" y="1736774"/>
          <a:ext cx="10584610" cy="43897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84610">
                  <a:extLst>
                    <a:ext uri="{9D8B030D-6E8A-4147-A177-3AD203B41FA5}">
                      <a16:colId xmlns="" xmlns:a16="http://schemas.microsoft.com/office/drawing/2014/main" val="425575937"/>
                    </a:ext>
                  </a:extLst>
                </a:gridCol>
              </a:tblGrid>
              <a:tr h="4389705">
                <a:tc>
                  <a:txBody>
                    <a:bodyPr/>
                    <a:lstStyle/>
                    <a:p>
                      <a:pPr algn="just"/>
                      <a:r>
                        <a:rPr lang="en-IN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 order to deploy a resource using Terraform we need to follow the following workflow:</a:t>
                      </a:r>
                    </a:p>
                    <a:p>
                      <a:pPr algn="just"/>
                      <a:endParaRPr lang="en-IN" sz="20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+mj-lt"/>
                        <a:buAutoNum type="arabicPeriod"/>
                      </a:pPr>
                      <a:r>
                        <a:rPr lang="en-IN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uthenticate and authorize Terraform with Azure: We can do this by using “</a:t>
                      </a:r>
                      <a:r>
                        <a:rPr lang="en-IN" dirty="0" err="1" smtClean="0">
                          <a:solidFill>
                            <a:schemeClr val="tx1"/>
                          </a:solidFill>
                        </a:rPr>
                        <a:t>az</a:t>
                      </a: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 login</a:t>
                      </a:r>
                      <a:r>
                        <a:rPr lang="en-IN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” command. Once authenticated, it lists all the available subscriptions.</a:t>
                      </a:r>
                    </a:p>
                    <a:p>
                      <a:pPr marL="342900" indent="-342900" algn="just">
                        <a:buFont typeface="+mj-lt"/>
                        <a:buAutoNum type="arabicPeriod"/>
                      </a:pPr>
                      <a:endParaRPr lang="en-IN" sz="18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r>
                        <a:rPr lang="en-IN" sz="1800" b="1" i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gure 1) Searching for Policy in Azure Portal</a:t>
                      </a:r>
                    </a:p>
                    <a:p>
                      <a:r>
                        <a:rPr lang="en-IN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342900" indent="-342900" algn="just">
                        <a:buFont typeface="+mj-lt"/>
                        <a:buAutoNum type="arabicPeriod"/>
                      </a:pPr>
                      <a:endParaRPr lang="en-IN" sz="18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+mj-lt"/>
                        <a:buAutoNum type="arabicPeriod"/>
                      </a:pPr>
                      <a:endParaRPr lang="en-IN" sz="18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54929682"/>
                  </a:ext>
                </a:extLst>
              </a:tr>
            </a:tbl>
          </a:graphicData>
        </a:graphic>
      </p:graphicFrame>
      <p:pic>
        <p:nvPicPr>
          <p:cNvPr id="5" name="Picture 4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62" b="38152"/>
          <a:stretch/>
        </p:blipFill>
        <p:spPr>
          <a:xfrm>
            <a:off x="672859" y="3075227"/>
            <a:ext cx="4123427" cy="1410509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98"/>
          <a:stretch/>
        </p:blipFill>
        <p:spPr bwMode="auto">
          <a:xfrm>
            <a:off x="7625751" y="3075227"/>
            <a:ext cx="3631720" cy="305125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/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91" t="3094" r="13328" b="10639"/>
          <a:stretch/>
        </p:blipFill>
        <p:spPr>
          <a:xfrm>
            <a:off x="4951562" y="3075227"/>
            <a:ext cx="2441276" cy="2421039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918711" y="4485736"/>
            <a:ext cx="36317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9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Fig 1) “</a:t>
            </a:r>
            <a:r>
              <a:rPr lang="en-IN" sz="900" i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az</a:t>
            </a:r>
            <a:r>
              <a:rPr lang="en-IN" sz="9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 login” command</a:t>
            </a:r>
            <a:endParaRPr lang="en-IN" sz="9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625750" y="6126479"/>
            <a:ext cx="36317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9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Fig 3) Available subscriptions</a:t>
            </a:r>
            <a:endParaRPr lang="en-IN" sz="9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56339" y="5504584"/>
            <a:ext cx="36317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9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Fig 2) Logging in with Azure account</a:t>
            </a:r>
            <a:endParaRPr lang="en-IN" sz="9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526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1EDE145-BB72-457F-AAF8-7CE1614888C1}"/>
              </a:ext>
            </a:extLst>
          </p:cNvPr>
          <p:cNvSpPr/>
          <p:nvPr/>
        </p:nvSpPr>
        <p:spPr>
          <a:xfrm flipV="1">
            <a:off x="1964845" y="351693"/>
            <a:ext cx="8149763" cy="99880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IN" dirty="0">
              <a:solidFill>
                <a:srgbClr val="002647">
                  <a:lumMod val="10000"/>
                  <a:lumOff val="90000"/>
                </a:srgbClr>
              </a:solidFill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6282BF14-A47D-47EA-8100-B6B6290A3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5181" y="690591"/>
            <a:ext cx="8025618" cy="759656"/>
          </a:xfrm>
        </p:spPr>
        <p:txBody>
          <a:bodyPr/>
          <a:lstStyle/>
          <a:p>
            <a:r>
              <a:rPr lang="en-IN" sz="2800" dirty="0">
                <a:solidFill>
                  <a:schemeClr val="tx1"/>
                </a:solidFill>
                <a:latin typeface="arial" panose="020B0604020202020204" pitchFamily="34" charset="0"/>
              </a:rPr>
              <a:t>   </a:t>
            </a:r>
            <a:r>
              <a:rPr lang="en-IN" sz="2800" dirty="0" smtClean="0">
                <a:solidFill>
                  <a:schemeClr val="bg1"/>
                </a:solidFill>
                <a:latin typeface="arial" panose="020B0604020202020204" pitchFamily="34" charset="0"/>
              </a:rPr>
              <a:t>Deployment of resource using Terraform</a:t>
            </a: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Montserrat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Montserrat"/>
              </a:rPr>
            </a:br>
            <a:r>
              <a:rPr lang="en-IN" sz="1600" dirty="0">
                <a:solidFill>
                  <a:schemeClr val="tx1"/>
                </a:solidFill>
              </a:rPr>
              <a:t/>
            </a:r>
            <a:br>
              <a:rPr lang="en-IN" sz="1600" dirty="0">
                <a:solidFill>
                  <a:schemeClr val="tx1"/>
                </a:solidFill>
              </a:rPr>
            </a:br>
            <a:endParaRPr lang="en-IN" sz="1600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="" xmlns:a16="http://schemas.microsoft.com/office/drawing/2014/main" id="{3AF0D81B-0F59-486B-8E41-21D4BA8DA6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2283415"/>
              </p:ext>
            </p:extLst>
          </p:nvPr>
        </p:nvGraphicFramePr>
        <p:xfrm>
          <a:off x="1964845" y="1450247"/>
          <a:ext cx="8025617" cy="4157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25617">
                  <a:extLst>
                    <a:ext uri="{9D8B030D-6E8A-4147-A177-3AD203B41FA5}">
                      <a16:colId xmlns="" xmlns:a16="http://schemas.microsoft.com/office/drawing/2014/main" val="425575937"/>
                    </a:ext>
                  </a:extLst>
                </a:gridCol>
              </a:tblGrid>
              <a:tr h="4157002">
                <a:tc>
                  <a:txBody>
                    <a:bodyPr/>
                    <a:lstStyle/>
                    <a:p>
                      <a:pPr marL="342900" indent="-342900" algn="just">
                        <a:buFont typeface="+mj-lt"/>
                        <a:buAutoNum type="arabicPeriod" startAt="2"/>
                      </a:pPr>
                      <a:r>
                        <a:rPr lang="en-IN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elect operating subscription</a:t>
                      </a:r>
                    </a:p>
                    <a:p>
                      <a:pPr marL="342900" indent="-342900" algn="just">
                        <a:buFont typeface="+mj-lt"/>
                        <a:buAutoNum type="arabicPeriod" startAt="2"/>
                      </a:pPr>
                      <a:endParaRPr lang="en-IN" sz="18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indent="0" algn="just">
                        <a:buFont typeface="+mj-lt"/>
                        <a:buNone/>
                      </a:pPr>
                      <a:endParaRPr lang="en-IN" sz="18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indent="0" algn="just">
                        <a:buFont typeface="+mj-lt"/>
                        <a:buNone/>
                      </a:pPr>
                      <a:endParaRPr lang="en-IN" sz="18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+mj-lt"/>
                        <a:buAutoNum type="arabicPeriod" startAt="3"/>
                      </a:pPr>
                      <a:r>
                        <a:rPr lang="en-IN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rganize working directory structure: Instead of using one large monolithic Terraform file it is recommended to use multiple small manageable files.</a:t>
                      </a:r>
                    </a:p>
                    <a:p>
                      <a:pPr marL="342900" indent="-342900" algn="just">
                        <a:buFont typeface="+mj-lt"/>
                        <a:buAutoNum type="arabicPeriod" startAt="3"/>
                      </a:pPr>
                      <a:endParaRPr lang="en-IN" sz="18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+mj-lt"/>
                        <a:buAutoNum type="arabicPeriod" startAt="3"/>
                      </a:pPr>
                      <a:endParaRPr lang="en-IN" sz="18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54929682"/>
                  </a:ext>
                </a:extLst>
              </a:tr>
            </a:tbl>
          </a:graphicData>
        </a:graphic>
      </p:graphicFrame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1989" y="1868601"/>
            <a:ext cx="4572000" cy="31432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285936" y="2182926"/>
            <a:ext cx="36317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9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Fig 4) Selecting operating subscription</a:t>
            </a:r>
            <a:endParaRPr lang="en-IN" sz="9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Picture 9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5935" y="3426344"/>
            <a:ext cx="2371725" cy="272415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4382129" y="6150494"/>
            <a:ext cx="36317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9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Fig 5) Working directory structure</a:t>
            </a:r>
            <a:endParaRPr lang="en-IN" sz="9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174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1EDE145-BB72-457F-AAF8-7CE1614888C1}"/>
              </a:ext>
            </a:extLst>
          </p:cNvPr>
          <p:cNvSpPr/>
          <p:nvPr/>
        </p:nvSpPr>
        <p:spPr>
          <a:xfrm flipV="1">
            <a:off x="1964845" y="351693"/>
            <a:ext cx="8149763" cy="99880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IN" dirty="0">
              <a:solidFill>
                <a:srgbClr val="002647">
                  <a:lumMod val="10000"/>
                  <a:lumOff val="90000"/>
                </a:srgbClr>
              </a:solidFill>
              <a:latin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6282BF14-A47D-47EA-8100-B6B6290A3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5181" y="690591"/>
            <a:ext cx="8025618" cy="759656"/>
          </a:xfrm>
        </p:spPr>
        <p:txBody>
          <a:bodyPr/>
          <a:lstStyle/>
          <a:p>
            <a:r>
              <a:rPr lang="en-IN" sz="2800" dirty="0">
                <a:solidFill>
                  <a:schemeClr val="tx1"/>
                </a:solidFill>
                <a:latin typeface="arial" panose="020B0604020202020204" pitchFamily="34" charset="0"/>
              </a:rPr>
              <a:t>   </a:t>
            </a:r>
            <a:r>
              <a:rPr lang="en-IN" sz="2800" dirty="0" smtClean="0">
                <a:solidFill>
                  <a:schemeClr val="bg1"/>
                </a:solidFill>
                <a:latin typeface="arial" panose="020B0604020202020204" pitchFamily="34" charset="0"/>
              </a:rPr>
              <a:t>Deployment of resource using Terraform</a:t>
            </a: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IN" sz="1600" dirty="0">
                <a:solidFill>
                  <a:schemeClr val="tx1"/>
                </a:solidFill>
                <a:latin typeface="Montserrat"/>
              </a:rPr>
              <a:t/>
            </a:r>
            <a:br>
              <a:rPr lang="en-IN" sz="1600" dirty="0">
                <a:solidFill>
                  <a:schemeClr val="tx1"/>
                </a:solidFill>
                <a:latin typeface="Montserrat"/>
              </a:rPr>
            </a:br>
            <a:r>
              <a:rPr lang="en-IN" sz="1600" dirty="0">
                <a:solidFill>
                  <a:schemeClr val="tx1"/>
                </a:solidFill>
              </a:rPr>
              <a:t/>
            </a:r>
            <a:br>
              <a:rPr lang="en-IN" sz="1600" dirty="0">
                <a:solidFill>
                  <a:schemeClr val="tx1"/>
                </a:solidFill>
              </a:rPr>
            </a:br>
            <a:endParaRPr lang="en-IN" sz="1600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="" xmlns:a16="http://schemas.microsoft.com/office/drawing/2014/main" id="{3AF0D81B-0F59-486B-8E41-21D4BA8DA6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1921181"/>
              </p:ext>
            </p:extLst>
          </p:nvPr>
        </p:nvGraphicFramePr>
        <p:xfrm>
          <a:off x="1964845" y="1450247"/>
          <a:ext cx="8025617" cy="4157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25617">
                  <a:extLst>
                    <a:ext uri="{9D8B030D-6E8A-4147-A177-3AD203B41FA5}">
                      <a16:colId xmlns="" xmlns:a16="http://schemas.microsoft.com/office/drawing/2014/main" val="425575937"/>
                    </a:ext>
                  </a:extLst>
                </a:gridCol>
              </a:tblGrid>
              <a:tr h="4157002">
                <a:tc>
                  <a:txBody>
                    <a:bodyPr/>
                    <a:lstStyle/>
                    <a:p>
                      <a:pPr marL="342900" indent="-342900" algn="just">
                        <a:buFont typeface="+mj-lt"/>
                        <a:buAutoNum type="arabicPeriod" startAt="4"/>
                      </a:pPr>
                      <a:r>
                        <a:rPr lang="en-IN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reparing script file: We need to prepare the terraform script that contain the target resource configurations.</a:t>
                      </a:r>
                    </a:p>
                    <a:p>
                      <a:pPr marL="0" indent="0" algn="just">
                        <a:buFont typeface="+mj-lt"/>
                        <a:buNone/>
                      </a:pPr>
                      <a:endParaRPr lang="en-IN" sz="18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+mj-lt"/>
                        <a:buAutoNum type="arabicPeriod" startAt="5"/>
                      </a:pPr>
                      <a:r>
                        <a:rPr lang="en-IN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pply the script: Once we have prepared the script next we need to follow the </a:t>
                      </a:r>
                      <a:r>
                        <a:rPr lang="en-IN" sz="1800" b="0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erraform’s</a:t>
                      </a:r>
                      <a:r>
                        <a:rPr lang="en-IN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“apply” workflow.</a:t>
                      </a:r>
                    </a:p>
                    <a:p>
                      <a:pPr marL="342900" indent="-342900" algn="just">
                        <a:buFont typeface="+mj-lt"/>
                        <a:buAutoNum type="arabicPeriod" startAt="5"/>
                      </a:pPr>
                      <a:endParaRPr lang="en-IN" sz="1800" b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54929682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382128" y="5607249"/>
            <a:ext cx="36317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9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Fig 6) Apply workflow</a:t>
            </a:r>
            <a:endParaRPr lang="en-IN" sz="9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image1.png"/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3911989" y="3130749"/>
            <a:ext cx="4572000" cy="2476500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89700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NO7jOIQQ6Z7zthvgBOR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OD PPT Segment Tempate (9+3) v1">
  <a:themeElements>
    <a:clrScheme name="Dover2">
      <a:dk1>
        <a:srgbClr val="000000"/>
      </a:dk1>
      <a:lt1>
        <a:srgbClr val="FFFFFF"/>
      </a:lt1>
      <a:dk2>
        <a:srgbClr val="004B8D"/>
      </a:dk2>
      <a:lt2>
        <a:srgbClr val="6582BB"/>
      </a:lt2>
      <a:accent1>
        <a:srgbClr val="002647"/>
      </a:accent1>
      <a:accent2>
        <a:srgbClr val="8C8C8C"/>
      </a:accent2>
      <a:accent3>
        <a:srgbClr val="004B8D"/>
      </a:accent3>
      <a:accent4>
        <a:srgbClr val="262626"/>
      </a:accent4>
      <a:accent5>
        <a:srgbClr val="6582BB"/>
      </a:accent5>
      <a:accent6>
        <a:srgbClr val="4C4C4C"/>
      </a:accent6>
      <a:hlink>
        <a:srgbClr val="004B8D"/>
      </a:hlink>
      <a:folHlink>
        <a:srgbClr val="6582B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4663C024743A469FEFC7B6D0434321" ma:contentTypeVersion="20" ma:contentTypeDescription="Create a new document." ma:contentTypeScope="" ma:versionID="495e272640912b5970b548397091e220">
  <xsd:schema xmlns:xsd="http://www.w3.org/2001/XMLSchema" xmlns:xs="http://www.w3.org/2001/XMLSchema" xmlns:p="http://schemas.microsoft.com/office/2006/metadata/properties" xmlns:ns2="a31a0dcf-579b-4a0b-b335-a82b96a1f5df" xmlns:ns3="806dd7b5-090d-489a-8a35-49e99d46059f" targetNamespace="http://schemas.microsoft.com/office/2006/metadata/properties" ma:root="true" ma:fieldsID="cf92c74d30b5e03eba8fa829ca5d6788" ns2:_="" ns3:_="">
    <xsd:import namespace="a31a0dcf-579b-4a0b-b335-a82b96a1f5df"/>
    <xsd:import namespace="806dd7b5-090d-489a-8a35-49e99d46059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1a0dcf-579b-4a0b-b335-a82b96a1f5d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haring Hint Hash" ma:internalName="SharingHintHash" ma:readOnly="true">
      <xsd:simpleType>
        <xsd:restriction base="dms:Text"/>
      </xsd:simple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  <xsd:element name="TaxCatchAll" ma:index="25" nillable="true" ma:displayName="Taxonomy Catch All Column" ma:hidden="true" ma:list="{6c90a1cb-3f65-4275-87f4-6a91fa734b47}" ma:internalName="TaxCatchAll" ma:showField="CatchAllData" ma:web="a31a0dcf-579b-4a0b-b335-a82b96a1f5d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6dd7b5-090d-489a-8a35-49e99d4605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7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fab59b46-7277-476d-9ef3-85da32fcacb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06dd7b5-090d-489a-8a35-49e99d46059f">
      <Terms xmlns="http://schemas.microsoft.com/office/infopath/2007/PartnerControls"/>
    </lcf76f155ced4ddcb4097134ff3c332f>
    <TaxCatchAll xmlns="a31a0dcf-579b-4a0b-b335-a82b96a1f5df" xsi:nil="true"/>
  </documentManagement>
</p:properties>
</file>

<file path=customXml/itemProps1.xml><?xml version="1.0" encoding="utf-8"?>
<ds:datastoreItem xmlns:ds="http://schemas.openxmlformats.org/officeDocument/2006/customXml" ds:itemID="{CE982DF9-E7AC-41CF-A482-FD5803A5AC40}"/>
</file>

<file path=customXml/itemProps2.xml><?xml version="1.0" encoding="utf-8"?>
<ds:datastoreItem xmlns:ds="http://schemas.openxmlformats.org/officeDocument/2006/customXml" ds:itemID="{73F64A5F-7ED7-409D-97E4-20E997AE5F60}"/>
</file>

<file path=customXml/itemProps3.xml><?xml version="1.0" encoding="utf-8"?>
<ds:datastoreItem xmlns:ds="http://schemas.openxmlformats.org/officeDocument/2006/customXml" ds:itemID="{DCDB0869-78E6-4A37-A096-AF2C7B5093E3}"/>
</file>

<file path=docProps/app.xml><?xml version="1.0" encoding="utf-8"?>
<Properties xmlns="http://schemas.openxmlformats.org/officeDocument/2006/extended-properties" xmlns:vt="http://schemas.openxmlformats.org/officeDocument/2006/docPropsVTypes">
  <TotalTime>1189</TotalTime>
  <Words>617</Words>
  <Application>Microsoft Office PowerPoint</Application>
  <PresentationFormat>Widescreen</PresentationFormat>
  <Paragraphs>103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arial</vt:lpstr>
      <vt:lpstr>Calibri</vt:lpstr>
      <vt:lpstr>Calibri Light</vt:lpstr>
      <vt:lpstr>Montserrat</vt:lpstr>
      <vt:lpstr>Wingdings</vt:lpstr>
      <vt:lpstr>Office Theme</vt:lpstr>
      <vt:lpstr>BOD PPT Segment Tempate (9+3) v1</vt:lpstr>
      <vt:lpstr>think-cell Slide</vt:lpstr>
      <vt:lpstr>PowerPoint Presentation</vt:lpstr>
      <vt:lpstr>   What is Infrastructure as Code (IaC)?     </vt:lpstr>
      <vt:lpstr>   Terraform     </vt:lpstr>
      <vt:lpstr>   Terraform architecture     </vt:lpstr>
      <vt:lpstr>   Components of Terraform script     </vt:lpstr>
      <vt:lpstr>   Objectives     </vt:lpstr>
      <vt:lpstr>   Deployment of resource using Terraform     </vt:lpstr>
      <vt:lpstr>   Deployment of resource using Terraform     </vt:lpstr>
      <vt:lpstr>   Deployment of resource using Terraform     </vt:lpstr>
      <vt:lpstr>   Output     </vt:lpstr>
      <vt:lpstr>   Deployment of multiple instances of a resource using Terraform     </vt:lpstr>
      <vt:lpstr>   Output   After applying the script we can confirm the results at azure portal:  </vt:lpstr>
      <vt:lpstr>Thank you!!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zik, Abdul</dc:creator>
  <cp:lastModifiedBy>lakshay sethi</cp:lastModifiedBy>
  <cp:revision>75</cp:revision>
  <dcterms:created xsi:type="dcterms:W3CDTF">2022-01-26T22:03:43Z</dcterms:created>
  <dcterms:modified xsi:type="dcterms:W3CDTF">2022-07-05T12:1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4663C024743A469FEFC7B6D0434321</vt:lpwstr>
  </property>
</Properties>
</file>